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</p:sldMasterIdLst>
  <p:sldIdLst>
    <p:sldId id="404" r:id="rId3"/>
  </p:sldIdLst>
  <p:sldSz cx="12192000" cy="6858000"/>
  <p:notesSz cx="6858000" cy="9144000"/>
  <p:custDataLst>
    <p:tags r:id="rId4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32BD4B-340F-45D8-9DE6-F908D4D394CA}" v="2" dt="2026-07-13T09:49:20.5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1" autoAdjust="0"/>
    <p:restoredTop sz="94660"/>
  </p:normalViewPr>
  <p:slideViewPr>
    <p:cSldViewPr snapToGrid="0">
      <p:cViewPr varScale="1">
        <p:scale>
          <a:sx n="59" d="100"/>
          <a:sy n="59" d="100"/>
        </p:scale>
        <p:origin x="60" y="3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5/10/relationships/revisionInfo" Target="revisionInfo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717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472391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407746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87692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295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5306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98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610956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75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039611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53608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33013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90185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295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575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98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34596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75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9128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717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52489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7587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55784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9" imgH="409" progId="TCLayout.ActiveDocument.1">
                  <p:embed/>
                </p:oleObj>
              </mc:Choice>
              <mc:Fallback>
                <p:oleObj name="think-cell Slide" r:id="rId10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6950" y="6546761"/>
            <a:ext cx="2305050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03493806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68011103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3662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3409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9" imgH="409" progId="TCLayout.ActiveDocument.1">
                  <p:embed/>
                </p:oleObj>
              </mc:Choice>
              <mc:Fallback>
                <p:oleObj name="think-cell Slide" r:id="rId10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6950" y="6546761"/>
            <a:ext cx="2305050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03493806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68011103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1073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3D9044C2-4932-37AD-5407-4FBF50800FA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946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044C2-4932-37AD-5407-4FBF50800F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CDE0CA-2EB9-47D0-8326-A3EA683B7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Problem statement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0C98C7-B185-4D83-AE97-66C8DD0DCB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truktureretSundFornuft.dk</a:t>
            </a: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8249C8-44C6-79AF-5288-19BFE7EBEC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3870" y="2969925"/>
            <a:ext cx="9175750" cy="446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blem defini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65EF222-8290-6C02-76D1-4FE4156AFD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8308" y="2927062"/>
            <a:ext cx="10165724" cy="844188"/>
          </a:xfrm>
          <a:prstGeom prst="rect">
            <a:avLst/>
          </a:prstGeom>
          <a:noFill/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39CA890-38F1-3412-C9C9-63846D7AD52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64215" y="4406938"/>
            <a:ext cx="1458912" cy="377825"/>
          </a:xfrm>
          <a:prstGeom prst="rect">
            <a:avLst/>
          </a:prstGeom>
          <a:solidFill>
            <a:srgbClr val="B0B0AE"/>
          </a:solidFill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eop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17806D6-B330-65AE-5337-43876E2E8D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3870" y="3909257"/>
            <a:ext cx="49844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wner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rem ipsu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A2EDFC2-2F46-5D17-C678-7031B42CF7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3870" y="4687132"/>
            <a:ext cx="49844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y decision maker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rem ipsum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81CF4AB-E2D0-5BF2-2E49-68F8CE117C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62294" y="3909257"/>
            <a:ext cx="4971735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riteria for succes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adline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rem ipsum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2502B3A-735D-B006-0E68-37F8FC13AF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8307" y="3866395"/>
            <a:ext cx="5040000" cy="682625"/>
          </a:xfrm>
          <a:prstGeom prst="rect">
            <a:avLst/>
          </a:prstGeom>
          <a:noFill/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C9CB3A4-7E59-3E5C-CCE5-CF474F6C9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8307" y="4644270"/>
            <a:ext cx="5040000" cy="682625"/>
          </a:xfrm>
          <a:prstGeom prst="rect">
            <a:avLst/>
          </a:prstGeom>
          <a:noFill/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4B77916-CAB0-E178-9ADF-592173A41B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4030" y="3860414"/>
            <a:ext cx="5040000" cy="1460500"/>
          </a:xfrm>
          <a:prstGeom prst="rect">
            <a:avLst/>
          </a:prstGeom>
          <a:noFill/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34E6FC5-CEB7-C606-A3D9-C8DD941399D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31963" y="5680932"/>
            <a:ext cx="923416" cy="377825"/>
          </a:xfrm>
          <a:prstGeom prst="rect">
            <a:avLst/>
          </a:prstGeom>
          <a:solidFill>
            <a:srgbClr val="B0B0AE"/>
          </a:solidFill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8000" tIns="108000" rIns="108000" bIns="10800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cop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372C62C-7132-3278-FB38-BDFE4B7757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5457" y="5450999"/>
            <a:ext cx="49828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 scope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rem ipsum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C4A2F82-9F20-9365-B617-D44A41A4E2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62292" y="5450999"/>
            <a:ext cx="49701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ut of scope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rem ipsum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00F6610-69B0-A336-E5A2-EADD605B2E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9894" y="5408137"/>
            <a:ext cx="5040000" cy="923416"/>
          </a:xfrm>
          <a:prstGeom prst="rect">
            <a:avLst/>
          </a:prstGeom>
          <a:noFill/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29DE271-1AF8-B3BE-3D6D-F708F9E30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4029" y="5408137"/>
            <a:ext cx="5040000" cy="923416"/>
          </a:xfrm>
          <a:prstGeom prst="rect">
            <a:avLst/>
          </a:prstGeom>
          <a:noFill/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8F605FF-30A6-EC74-D69E-9C574C937F08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6061" y="1793626"/>
            <a:ext cx="1715224" cy="377825"/>
          </a:xfrm>
          <a:prstGeom prst="rect">
            <a:avLst/>
          </a:prstGeom>
          <a:solidFill>
            <a:srgbClr val="B0B0AE"/>
          </a:solidFill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8000" tIns="108000" rIns="108000" bIns="10800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23885FC-AC7A-BCB0-F667-EB6C89C6E5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8308" y="1123340"/>
            <a:ext cx="5040000" cy="1718402"/>
          </a:xfrm>
          <a:prstGeom prst="rect">
            <a:avLst/>
          </a:prstGeom>
          <a:noFill/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B608111-8849-E4F2-F12A-9414A90455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3870" y="1174887"/>
            <a:ext cx="4984438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ed for change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rem ipsum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alt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sired outcome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rem ipsum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9501BF8-E0BB-123B-A8D0-5B292E5939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4032" y="1126398"/>
            <a:ext cx="5040000" cy="1718402"/>
          </a:xfrm>
          <a:prstGeom prst="rect">
            <a:avLst/>
          </a:prstGeom>
          <a:noFill/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806DE0F-E8D3-A189-B34F-3070E5491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62295" y="1177945"/>
            <a:ext cx="4443412" cy="846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y Fact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rem ipsum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altLang="da-DK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y Known Stakeholder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rem ipsum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D4C8296-7653-C183-16B9-D0E9A7A0908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66816" y="3163157"/>
            <a:ext cx="844188" cy="371998"/>
          </a:xfrm>
          <a:prstGeom prst="rect">
            <a:avLst/>
          </a:prstGeom>
          <a:solidFill>
            <a:srgbClr val="B0B0AE"/>
          </a:solidFill>
          <a:ln w="9525" algn="ctr">
            <a:solidFill>
              <a:srgbClr val="B0B0AE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8000" tIns="108000" rIns="108000" bIns="10800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blem</a:t>
            </a:r>
          </a:p>
        </p:txBody>
      </p:sp>
    </p:spTree>
    <p:extLst>
      <p:ext uri="{BB962C8B-B14F-4D97-AF65-F5344CB8AC3E}">
        <p14:creationId xmlns:p14="http://schemas.microsoft.com/office/powerpoint/2010/main" val="2259686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ppt/theme/theme2.xml><?xml version="1.0" encoding="utf-8"?>
<a:theme xmlns:a="http://schemas.openxmlformats.org/drawingml/2006/main" name="1_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</TotalTime>
  <Words>56</Words>
  <Application>Microsoft Office PowerPoint</Application>
  <PresentationFormat>Widescreen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struktureretsundfornuft-dk</vt:lpstr>
      <vt:lpstr>1_struktureretsundfornuft-dk</vt:lpstr>
      <vt:lpstr>think-cell Slide</vt:lpstr>
      <vt:lpstr>Problem stat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yper</dc:title>
  <dc:creator>Dann Bleeker Pedersen</dc:creator>
  <cp:lastModifiedBy>Dann Bleeker Pedersen</cp:lastModifiedBy>
  <cp:revision>2</cp:revision>
  <dcterms:created xsi:type="dcterms:W3CDTF">2024-02-15T19:28:09Z</dcterms:created>
  <dcterms:modified xsi:type="dcterms:W3CDTF">2026-07-13T09:49:32Z</dcterms:modified>
</cp:coreProperties>
</file>